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683" r:id="rId2"/>
    <p:sldMasterId id="2147483693" r:id="rId3"/>
    <p:sldMasterId id="2147483703" r:id="rId4"/>
    <p:sldMasterId id="2147483713" r:id="rId5"/>
  </p:sldMasterIdLst>
  <p:notesMasterIdLst>
    <p:notesMasterId r:id="rId13"/>
  </p:notesMasterIdLst>
  <p:handoutMasterIdLst>
    <p:handoutMasterId r:id="rId14"/>
  </p:handoutMasterIdLst>
  <p:sldIdLst>
    <p:sldId id="294" r:id="rId6"/>
    <p:sldId id="276" r:id="rId7"/>
    <p:sldId id="271" r:id="rId8"/>
    <p:sldId id="293" r:id="rId9"/>
    <p:sldId id="295" r:id="rId10"/>
    <p:sldId id="297" r:id="rId11"/>
    <p:sldId id="298" r:id="rId12"/>
  </p:sldIdLst>
  <p:sldSz cx="10691813" cy="7559675"/>
  <p:notesSz cx="6858000" cy="9144000"/>
  <p:custDataLst>
    <p:tags r:id="rId15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172" userDrawn="1">
          <p15:clr>
            <a:srgbClr val="A4A3A4"/>
          </p15:clr>
        </p15:guide>
        <p15:guide id="3" orient="horz" pos="907" userDrawn="1">
          <p15:clr>
            <a:srgbClr val="A4A3A4"/>
          </p15:clr>
        </p15:guide>
        <p15:guide id="4" pos="216" userDrawn="1">
          <p15:clr>
            <a:srgbClr val="A4A3A4"/>
          </p15:clr>
        </p15:guide>
        <p15:guide id="5" pos="65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0" autoAdjust="0"/>
    <p:restoredTop sz="95992" autoAdjust="0"/>
  </p:normalViewPr>
  <p:slideViewPr>
    <p:cSldViewPr snapToGrid="0">
      <p:cViewPr varScale="1">
        <p:scale>
          <a:sx n="104" d="100"/>
          <a:sy n="104" d="100"/>
        </p:scale>
        <p:origin x="1332" y="114"/>
      </p:cViewPr>
      <p:guideLst>
        <p:guide orient="horz" pos="4172"/>
        <p:guide orient="horz" pos="907"/>
        <p:guide pos="216"/>
        <p:guide pos="651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>
        <p:scale>
          <a:sx n="75" d="100"/>
          <a:sy n="75" d="100"/>
        </p:scale>
        <p:origin x="2938" y="13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use\01_KLIENTI\SKODA\Monitoring\&#352;KODA_monitoring_spanil&#225;%20jazda_26042018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use\01_KLIENTI\SKODA\Monitoring\&#352;KODA_monitoring_spanil&#225;%20jazda_26042018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k-SK"/>
              <a:t>Spanilá jazd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shade val="5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30B2-44D3-895B-1F384062BFFD}"/>
              </c:ext>
            </c:extLst>
          </c:dPt>
          <c:dPt>
            <c:idx val="1"/>
            <c:bubble3D val="0"/>
            <c:spPr>
              <a:solidFill>
                <a:schemeClr val="accent6">
                  <a:shade val="7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30B2-44D3-895B-1F384062BFFD}"/>
              </c:ext>
            </c:extLst>
          </c:dPt>
          <c:dPt>
            <c:idx val="2"/>
            <c:bubble3D val="0"/>
            <c:spPr>
              <a:solidFill>
                <a:schemeClr val="accent6">
                  <a:shade val="9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30B2-44D3-895B-1F384062BFFD}"/>
              </c:ext>
            </c:extLst>
          </c:dPt>
          <c:dPt>
            <c:idx val="3"/>
            <c:bubble3D val="0"/>
            <c:spPr>
              <a:solidFill>
                <a:schemeClr val="accent6">
                  <a:tint val="9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30B2-44D3-895B-1F384062BFFD}"/>
              </c:ext>
            </c:extLst>
          </c:dPt>
          <c:dPt>
            <c:idx val="4"/>
            <c:bubble3D val="0"/>
            <c:spPr>
              <a:solidFill>
                <a:schemeClr val="accent6">
                  <a:tint val="7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30B2-44D3-895B-1F384062BFFD}"/>
              </c:ext>
            </c:extLst>
          </c:dPt>
          <c:dPt>
            <c:idx val="5"/>
            <c:bubble3D val="0"/>
            <c:spPr>
              <a:solidFill>
                <a:schemeClr val="accent6">
                  <a:tint val="5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30B2-44D3-895B-1F384062BFFD}"/>
              </c:ext>
            </c:extLst>
          </c:dPt>
          <c:cat>
            <c:strRef>
              <c:f>Hárok1!$B$72:$B$77</c:f>
              <c:strCache>
                <c:ptCount val="6"/>
                <c:pt idx="0">
                  <c:v>online</c:v>
                </c:pt>
                <c:pt idx="1">
                  <c:v>print</c:v>
                </c:pt>
                <c:pt idx="2">
                  <c:v>TV</c:v>
                </c:pt>
                <c:pt idx="3">
                  <c:v>Instagram</c:v>
                </c:pt>
                <c:pt idx="4">
                  <c:v>Facebook</c:v>
                </c:pt>
                <c:pt idx="5">
                  <c:v>Youtube </c:v>
                </c:pt>
              </c:strCache>
            </c:strRef>
          </c:cat>
          <c:val>
            <c:numRef>
              <c:f>Hárok1!$C$72:$C$77</c:f>
              <c:numCache>
                <c:formatCode>General</c:formatCode>
                <c:ptCount val="6"/>
                <c:pt idx="0">
                  <c:v>46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0B2-44D3-895B-1F384062BF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k-SK"/>
              <a:t>Spanilá jazd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  <a:effectLst/>
            <a:sp3d/>
          </c:spPr>
          <c:invertIfNegative val="0"/>
          <c:cat>
            <c:strRef>
              <c:f>Hárok1!$B$79:$B$84</c:f>
              <c:strCache>
                <c:ptCount val="6"/>
                <c:pt idx="0">
                  <c:v>online</c:v>
                </c:pt>
                <c:pt idx="1">
                  <c:v>print</c:v>
                </c:pt>
                <c:pt idx="2">
                  <c:v>TV</c:v>
                </c:pt>
                <c:pt idx="3">
                  <c:v>Instagram</c:v>
                </c:pt>
                <c:pt idx="4">
                  <c:v>Facebook</c:v>
                </c:pt>
                <c:pt idx="5">
                  <c:v>Youtube </c:v>
                </c:pt>
              </c:strCache>
            </c:strRef>
          </c:cat>
          <c:val>
            <c:numRef>
              <c:f>Hárok1!$C$79:$C$84</c:f>
              <c:numCache>
                <c:formatCode>General</c:formatCode>
                <c:ptCount val="6"/>
                <c:pt idx="0">
                  <c:v>46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CA-455B-8BD5-DCE2833C0D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52126752"/>
        <c:axId val="352127080"/>
        <c:axId val="0"/>
      </c:bar3DChart>
      <c:catAx>
        <c:axId val="352126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352127080"/>
        <c:crosses val="autoZero"/>
        <c:auto val="1"/>
        <c:lblAlgn val="ctr"/>
        <c:lblOffset val="100"/>
        <c:noMultiLvlLbl val="0"/>
      </c:catAx>
      <c:valAx>
        <c:axId val="352127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352126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27.12.2019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DF265A4-7ECE-4568-9246-39EF07969DAF}" type="datetimeFigureOut">
              <a:rPr lang="cs-CZ" smtClean="0"/>
              <a:pPr/>
              <a:t>27.12.2019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noProof="0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DCD363E-0387-4F03-A368-7EC1FE0C90C6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1pPr>
    <a:lvl2pPr marL="179946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2pPr>
    <a:lvl3pPr marL="359892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3pPr>
    <a:lvl4pPr marL="539838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4pPr>
    <a:lvl5pPr marL="719784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5pPr>
    <a:lvl6pPr marL="2606858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79597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1422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, oddělení, jméno, datum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1449883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91284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33189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1"/>
            <a:ext cx="6551028" cy="5183049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9269268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88422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67062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107855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4106374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32750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6567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77002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39114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7260744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57352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632718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6004645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17319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49059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05308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48749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81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865239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7520210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865559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79681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787003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289696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8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450880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4493685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60831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256701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39446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9496327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2568371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309903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697325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2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10.v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2.gi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image" Target="../media/image2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7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58142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37" r:id="rId2"/>
    <p:sldLayoutId id="2147483686" r:id="rId3"/>
    <p:sldLayoutId id="2147483691" r:id="rId4"/>
    <p:sldLayoutId id="2147483692" r:id="rId5"/>
    <p:sldLayoutId id="2147483687" r:id="rId6"/>
    <p:sldLayoutId id="2147483688" r:id="rId7"/>
    <p:sldLayoutId id="2147483690" r:id="rId8"/>
    <p:sldLayoutId id="2147483689" r:id="rId9"/>
    <p:sldLayoutId id="2147483685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4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54138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38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2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45730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39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0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096328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40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jpe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41948" y="1062983"/>
            <a:ext cx="8278865" cy="540000"/>
          </a:xfrm>
        </p:spPr>
        <p:txBody>
          <a:bodyPr/>
          <a:lstStyle/>
          <a:p>
            <a:r>
              <a:rPr lang="cs-CZ" dirty="0"/>
              <a:t>ŠKODA spanilá </a:t>
            </a:r>
            <a:r>
              <a:rPr lang="cs-CZ" dirty="0" err="1"/>
              <a:t>jazda</a:t>
            </a:r>
            <a:r>
              <a:rPr lang="cs-CZ" dirty="0"/>
              <a:t> – 25.4.2019</a:t>
            </a: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1</a:t>
            </a:fld>
            <a:endParaRPr lang="cs-CZ" noProof="0" dirty="0"/>
          </a:p>
        </p:txBody>
      </p:sp>
      <p:sp>
        <p:nvSpPr>
          <p:cNvPr id="9" name="Zástupný symbol pro zápatí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noProof="0" dirty="0"/>
              <a:t>Název prezentace, oddělení, jméno, datum</a:t>
            </a:r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F4D3FD37-E107-4A1E-9946-0733AC357E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4" y="2463226"/>
            <a:ext cx="8906540" cy="4408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98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ŠKODA SPANILÁ JAZDA</a:t>
            </a:r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Počet výstupov 54</a:t>
            </a:r>
            <a:endParaRPr lang="cs-CZ" dirty="0"/>
          </a:p>
        </p:txBody>
      </p:sp>
      <p:sp>
        <p:nvSpPr>
          <p:cNvPr id="6" name="Obdĺžnik 5">
            <a:extLst>
              <a:ext uri="{FF2B5EF4-FFF2-40B4-BE49-F238E27FC236}">
                <a16:creationId xmlns:a16="http://schemas.microsoft.com/office/drawing/2014/main" id="{19A00515-2667-4224-A652-B516F1CF634E}"/>
              </a:ext>
            </a:extLst>
          </p:cNvPr>
          <p:cNvSpPr/>
          <p:nvPr/>
        </p:nvSpPr>
        <p:spPr>
          <a:xfrm>
            <a:off x="4012600" y="4642720"/>
            <a:ext cx="307430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dirty="0"/>
              <a:t>online		46</a:t>
            </a:r>
          </a:p>
          <a:p>
            <a:r>
              <a:rPr lang="sk-SK" dirty="0" err="1"/>
              <a:t>print</a:t>
            </a:r>
            <a:r>
              <a:rPr lang="sk-SK" dirty="0"/>
              <a:t>		2</a:t>
            </a:r>
          </a:p>
          <a:p>
            <a:r>
              <a:rPr lang="sk-SK" dirty="0"/>
              <a:t>TV		2</a:t>
            </a:r>
          </a:p>
          <a:p>
            <a:r>
              <a:rPr lang="sk-SK" dirty="0"/>
              <a:t>Instagram	2</a:t>
            </a:r>
          </a:p>
          <a:p>
            <a:r>
              <a:rPr lang="sk-SK" dirty="0"/>
              <a:t>Facebook		1</a:t>
            </a:r>
          </a:p>
          <a:p>
            <a:r>
              <a:rPr lang="sk-SK" dirty="0" err="1"/>
              <a:t>Youtube</a:t>
            </a:r>
            <a:r>
              <a:rPr lang="sk-SK" dirty="0"/>
              <a:t> 		1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77E46384-8FA3-439C-AF5A-DCD3AA9674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2340989"/>
              </p:ext>
            </p:extLst>
          </p:nvPr>
        </p:nvGraphicFramePr>
        <p:xfrm>
          <a:off x="719894" y="134585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87428762-E11B-4FAB-BF4C-E65D98DD96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6947201"/>
              </p:ext>
            </p:extLst>
          </p:nvPr>
        </p:nvGraphicFramePr>
        <p:xfrm>
          <a:off x="4864955" y="134585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746752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3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ŠKODA SPANILÁ JAZDA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online</a:t>
            </a:r>
            <a:endParaRPr lang="cs-CZ" dirty="0"/>
          </a:p>
        </p:txBody>
      </p:sp>
      <p:pic>
        <p:nvPicPr>
          <p:cNvPr id="9" name="Zástupný objekt pre obsah 8">
            <a:extLst>
              <a:ext uri="{FF2B5EF4-FFF2-40B4-BE49-F238E27FC236}">
                <a16:creationId xmlns:a16="http://schemas.microsoft.com/office/drawing/2014/main" id="{0FE5403D-2F36-4A2B-A8F8-A9EA493048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39" y="889903"/>
            <a:ext cx="2581043" cy="2502745"/>
          </a:xfrm>
        </p:spPr>
      </p:pic>
      <p:pic>
        <p:nvPicPr>
          <p:cNvPr id="11" name="Obrázok 10">
            <a:extLst>
              <a:ext uri="{FF2B5EF4-FFF2-40B4-BE49-F238E27FC236}">
                <a16:creationId xmlns:a16="http://schemas.microsoft.com/office/drawing/2014/main" id="{8BE69EF9-A12C-49B3-9BCA-2CDD18DB69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78" y="3779837"/>
            <a:ext cx="3081503" cy="2704113"/>
          </a:xfrm>
          <a:prstGeom prst="rect">
            <a:avLst/>
          </a:prstGeom>
        </p:spPr>
      </p:pic>
      <p:pic>
        <p:nvPicPr>
          <p:cNvPr id="12" name="Obrázok 11">
            <a:extLst>
              <a:ext uri="{FF2B5EF4-FFF2-40B4-BE49-F238E27FC236}">
                <a16:creationId xmlns:a16="http://schemas.microsoft.com/office/drawing/2014/main" id="{51F77752-E0F5-49C6-9009-7538224B970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434" t="13412" r="41466" b="10172"/>
          <a:stretch/>
        </p:blipFill>
        <p:spPr>
          <a:xfrm>
            <a:off x="7906050" y="284005"/>
            <a:ext cx="2173767" cy="3004457"/>
          </a:xfrm>
          <a:prstGeom prst="rect">
            <a:avLst/>
          </a:prstGeom>
        </p:spPr>
      </p:pic>
      <p:pic>
        <p:nvPicPr>
          <p:cNvPr id="14" name="Obrázok 13">
            <a:extLst>
              <a:ext uri="{FF2B5EF4-FFF2-40B4-BE49-F238E27FC236}">
                <a16:creationId xmlns:a16="http://schemas.microsoft.com/office/drawing/2014/main" id="{26D82A1F-539C-4583-847F-1B14BC6F21F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2326" t="11606" r="51462" b="5038"/>
          <a:stretch/>
        </p:blipFill>
        <p:spPr>
          <a:xfrm>
            <a:off x="5463136" y="284005"/>
            <a:ext cx="2173767" cy="3888401"/>
          </a:xfrm>
          <a:prstGeom prst="rect">
            <a:avLst/>
          </a:prstGeom>
        </p:spPr>
      </p:pic>
      <p:pic>
        <p:nvPicPr>
          <p:cNvPr id="15" name="Obrázok 14">
            <a:extLst>
              <a:ext uri="{FF2B5EF4-FFF2-40B4-BE49-F238E27FC236}">
                <a16:creationId xmlns:a16="http://schemas.microsoft.com/office/drawing/2014/main" id="{B5AF4D4F-C36E-47ED-9560-6A0A033FC57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7151" t="11605" r="49152" b="5037"/>
          <a:stretch/>
        </p:blipFill>
        <p:spPr>
          <a:xfrm>
            <a:off x="2877963" y="772737"/>
            <a:ext cx="2203119" cy="4359156"/>
          </a:xfrm>
          <a:prstGeom prst="rect">
            <a:avLst/>
          </a:prstGeom>
        </p:spPr>
      </p:pic>
      <p:pic>
        <p:nvPicPr>
          <p:cNvPr id="16" name="Obrázok 15">
            <a:extLst>
              <a:ext uri="{FF2B5EF4-FFF2-40B4-BE49-F238E27FC236}">
                <a16:creationId xmlns:a16="http://schemas.microsoft.com/office/drawing/2014/main" id="{E72E355B-3D2C-43A3-86F2-D9B875840C7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2769" t="15585" r="53090" b="22019"/>
          <a:stretch/>
        </p:blipFill>
        <p:spPr>
          <a:xfrm>
            <a:off x="8580493" y="3617946"/>
            <a:ext cx="1676434" cy="2437383"/>
          </a:xfrm>
          <a:prstGeom prst="rect">
            <a:avLst/>
          </a:prstGeom>
        </p:spPr>
      </p:pic>
      <p:pic>
        <p:nvPicPr>
          <p:cNvPr id="17" name="Obrázok 16">
            <a:extLst>
              <a:ext uri="{FF2B5EF4-FFF2-40B4-BE49-F238E27FC236}">
                <a16:creationId xmlns:a16="http://schemas.microsoft.com/office/drawing/2014/main" id="{EC51A5E5-B5DF-431A-A77A-9D3A58CF369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3866" t="19929" r="56128" b="16687"/>
          <a:stretch/>
        </p:blipFill>
        <p:spPr>
          <a:xfrm>
            <a:off x="4436169" y="4172406"/>
            <a:ext cx="1523297" cy="2714636"/>
          </a:xfrm>
          <a:prstGeom prst="rect">
            <a:avLst/>
          </a:prstGeom>
        </p:spPr>
      </p:pic>
      <p:pic>
        <p:nvPicPr>
          <p:cNvPr id="18" name="Obrázok 17">
            <a:extLst>
              <a:ext uri="{FF2B5EF4-FFF2-40B4-BE49-F238E27FC236}">
                <a16:creationId xmlns:a16="http://schemas.microsoft.com/office/drawing/2014/main" id="{244C9CCC-D356-43B3-84E4-2FA67E5764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2714" t="11606" r="48464" b="17873"/>
          <a:stretch/>
        </p:blipFill>
        <p:spPr>
          <a:xfrm>
            <a:off x="6320202" y="3942135"/>
            <a:ext cx="2157465" cy="2969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179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4</a:t>
            </a:fld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ŠKODA SPANILÁ JAZDA</a:t>
            </a:r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</a:t>
            </a:r>
            <a:r>
              <a:rPr lang="sk-SK" dirty="0" err="1">
                <a:solidFill>
                  <a:schemeClr val="accent6"/>
                </a:solidFill>
              </a:rPr>
              <a:t>print</a:t>
            </a:r>
            <a:endParaRPr lang="cs-CZ" dirty="0"/>
          </a:p>
        </p:txBody>
      </p:sp>
      <p:pic>
        <p:nvPicPr>
          <p:cNvPr id="9" name="Obrázok 8">
            <a:extLst>
              <a:ext uri="{FF2B5EF4-FFF2-40B4-BE49-F238E27FC236}">
                <a16:creationId xmlns:a16="http://schemas.microsoft.com/office/drawing/2014/main" id="{0DCA82E4-415E-445C-B9DC-60BD882225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7818" y="1021276"/>
            <a:ext cx="6406775" cy="480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9122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5</a:t>
            </a:fld>
            <a:endParaRPr lang="cs-CZ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ŠKODA SPANILÁ JAZDA</a:t>
            </a:r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</p:spPr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TV</a:t>
            </a:r>
            <a:endParaRPr lang="cs-CZ" dirty="0"/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D63E2916-0688-44CE-8AFC-831F1D2EC2D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49" y="1404054"/>
            <a:ext cx="4470818" cy="3276532"/>
          </a:xfrm>
          <a:prstGeom prst="rect">
            <a:avLst/>
          </a:prstGeom>
        </p:spPr>
      </p:pic>
      <p:pic>
        <p:nvPicPr>
          <p:cNvPr id="9" name="Obrázok 8">
            <a:extLst>
              <a:ext uri="{FF2B5EF4-FFF2-40B4-BE49-F238E27FC236}">
                <a16:creationId xmlns:a16="http://schemas.microsoft.com/office/drawing/2014/main" id="{8321D879-1AB5-41C5-9AE6-7DFD1F368B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9161" y="1448072"/>
            <a:ext cx="5421753" cy="306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8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ŠKODA SPANILÁ JAZDA</a:t>
            </a:r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</p:spPr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Instagram</a:t>
            </a:r>
            <a:endParaRPr lang="cs-CZ" dirty="0"/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C2114138-92FF-47ED-B60A-E6B3F0F26BE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58" y="1265365"/>
            <a:ext cx="2084120" cy="3705103"/>
          </a:xfrm>
          <a:prstGeom prst="rect">
            <a:avLst/>
          </a:prstGeom>
        </p:spPr>
      </p:pic>
      <p:pic>
        <p:nvPicPr>
          <p:cNvPr id="10" name="Obrázok 9">
            <a:extLst>
              <a:ext uri="{FF2B5EF4-FFF2-40B4-BE49-F238E27FC236}">
                <a16:creationId xmlns:a16="http://schemas.microsoft.com/office/drawing/2014/main" id="{7B153211-2386-4A9E-A014-F8425282CA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6729" y="1265365"/>
            <a:ext cx="2084120" cy="3705103"/>
          </a:xfrm>
          <a:prstGeom prst="rect">
            <a:avLst/>
          </a:prstGeom>
        </p:spPr>
      </p:pic>
      <p:pic>
        <p:nvPicPr>
          <p:cNvPr id="5" name="Obrázok 4">
            <a:extLst>
              <a:ext uri="{FF2B5EF4-FFF2-40B4-BE49-F238E27FC236}">
                <a16:creationId xmlns:a16="http://schemas.microsoft.com/office/drawing/2014/main" id="{ADB0749D-E9E4-4CFE-99CF-6D1D4158A0D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46"/>
          <a:stretch/>
        </p:blipFill>
        <p:spPr>
          <a:xfrm>
            <a:off x="8108456" y="1265366"/>
            <a:ext cx="2240509" cy="3746255"/>
          </a:xfrm>
          <a:prstGeom prst="rect">
            <a:avLst/>
          </a:prstGeom>
        </p:spPr>
      </p:pic>
      <p:pic>
        <p:nvPicPr>
          <p:cNvPr id="9" name="Obrázok 8">
            <a:extLst>
              <a:ext uri="{FF2B5EF4-FFF2-40B4-BE49-F238E27FC236}">
                <a16:creationId xmlns:a16="http://schemas.microsoft.com/office/drawing/2014/main" id="{7160FE48-3D61-4DD5-BBD4-6342BBAAF7C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46"/>
          <a:stretch/>
        </p:blipFill>
        <p:spPr>
          <a:xfrm>
            <a:off x="5486400" y="1265365"/>
            <a:ext cx="2240509" cy="3746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28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ŠKODA SPANILÁ JAZDA</a:t>
            </a:r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</p:spPr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Facebook</a:t>
            </a:r>
            <a:endParaRPr lang="cs-CZ" dirty="0"/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A73AB2E7-2EF6-4203-9C90-D349A782E4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29" y="1012639"/>
            <a:ext cx="5289388" cy="439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592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Landscape CI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3E881CF6-D04C-455F-8B0E-E72509443B69}"/>
    </a:ext>
  </a:extLst>
</a:theme>
</file>

<file path=ppt/theme/theme2.xml><?xml version="1.0" encoding="utf-8"?>
<a:theme xmlns:a="http://schemas.openxmlformats.org/drawingml/2006/main" name="ŠKODA A4 Landscape BLUE">
  <a:themeElements>
    <a:clrScheme name="ŠKODA BLUE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0090D7"/>
      </a:accent1>
      <a:accent2>
        <a:srgbClr val="004F76"/>
      </a:accent2>
      <a:accent3>
        <a:srgbClr val="7EC9F1"/>
      </a:accent3>
      <a:accent4>
        <a:srgbClr val="777777"/>
      </a:accent4>
      <a:accent5>
        <a:srgbClr val="4A4A4A"/>
      </a:accent5>
      <a:accent6>
        <a:srgbClr val="B8B8B8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BLUE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0090D7"/>
        </a:accent1>
        <a:accent2>
          <a:srgbClr val="004F76"/>
        </a:accent2>
        <a:accent3>
          <a:srgbClr val="7EC9F1"/>
        </a:accent3>
        <a:accent4>
          <a:srgbClr val="777777"/>
        </a:accent4>
        <a:accent5>
          <a:srgbClr val="4A4A4A"/>
        </a:accent5>
        <a:accent6>
          <a:srgbClr val="004F7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50AA65BF-6706-473E-950C-15C019C2E25A}"/>
    </a:ext>
  </a:extLst>
</a:theme>
</file>

<file path=ppt/theme/theme3.xml><?xml version="1.0" encoding="utf-8"?>
<a:theme xmlns:a="http://schemas.openxmlformats.org/drawingml/2006/main" name="ŠKODA A4 Landscape RED">
  <a:themeElements>
    <a:clrScheme name="ŠKODA RED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E62336"/>
      </a:accent1>
      <a:accent2>
        <a:srgbClr val="B00835"/>
      </a:accent2>
      <a:accent3>
        <a:srgbClr val="EA5167"/>
      </a:accent3>
      <a:accent4>
        <a:srgbClr val="E5D1A2"/>
      </a:accent4>
      <a:accent5>
        <a:srgbClr val="878787"/>
      </a:accent5>
      <a:accent6>
        <a:srgbClr val="CECEC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RED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E62336"/>
        </a:accent1>
        <a:accent2>
          <a:srgbClr val="B00835"/>
        </a:accent2>
        <a:accent3>
          <a:srgbClr val="EA5167"/>
        </a:accent3>
        <a:accent4>
          <a:srgbClr val="E5D1A2"/>
        </a:accent4>
        <a:accent5>
          <a:srgbClr val="878787"/>
        </a:accent5>
        <a:accent6>
          <a:srgbClr val="CECEC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02E8CB0F-18E1-494A-84B7-3E01E5CC6622}"/>
    </a:ext>
  </a:extLst>
</a:theme>
</file>

<file path=ppt/theme/theme4.xml><?xml version="1.0" encoding="utf-8"?>
<a:theme xmlns:a="http://schemas.openxmlformats.org/drawingml/2006/main" name="ŠKODA A4 Landscape YELLOW">
  <a:themeElements>
    <a:clrScheme name="ŠKODA YELLOW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3DA44"/>
      </a:accent1>
      <a:accent2>
        <a:srgbClr val="A2C617"/>
      </a:accent2>
      <a:accent3>
        <a:srgbClr val="FFDF43"/>
      </a:accent3>
      <a:accent4>
        <a:srgbClr val="FFF374"/>
      </a:accent4>
      <a:accent5>
        <a:srgbClr val="9D9D9D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YELLOW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3DA44"/>
        </a:accent1>
        <a:accent2>
          <a:srgbClr val="A2C617"/>
        </a:accent2>
        <a:accent3>
          <a:srgbClr val="FFDF43"/>
        </a:accent3>
        <a:accent4>
          <a:srgbClr val="FFF374"/>
        </a:accent4>
        <a:accent5>
          <a:srgbClr val="9D9D9D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F162132D-C9BF-4EB7-A17D-1CE997F239E4}"/>
    </a:ext>
  </a:extLst>
</a:theme>
</file>

<file path=ppt/theme/theme5.xml><?xml version="1.0" encoding="utf-8"?>
<a:theme xmlns:a="http://schemas.openxmlformats.org/drawingml/2006/main" name="ŠKODA A4 Landscape TURQUOIS">
  <a:themeElements>
    <a:clrScheme name="ŠKODA TURQUOIS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15AF97"/>
      </a:accent1>
      <a:accent2>
        <a:srgbClr val="008A83"/>
      </a:accent2>
      <a:accent3>
        <a:srgbClr val="76B4AF"/>
      </a:accent3>
      <a:accent4>
        <a:srgbClr val="74A3A1"/>
      </a:accent4>
      <a:accent5>
        <a:srgbClr val="706F6F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TURQUOIS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15AF97"/>
        </a:accent1>
        <a:accent2>
          <a:srgbClr val="008A83"/>
        </a:accent2>
        <a:accent3>
          <a:srgbClr val="76B4AF"/>
        </a:accent3>
        <a:accent4>
          <a:srgbClr val="74A3A1"/>
        </a:accent4>
        <a:accent5>
          <a:srgbClr val="706F6F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F561B771-4730-4117-80D4-26D65244396D}"/>
    </a:ext>
  </a:extLst>
</a:theme>
</file>

<file path=ppt/theme/theme6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ppt/theme/theme7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ODA_Next_Na_sirku</Template>
  <TotalTime>156</TotalTime>
  <Words>89</Words>
  <Application>Microsoft Office PowerPoint</Application>
  <PresentationFormat>Vlastná</PresentationFormat>
  <Paragraphs>30</Paragraphs>
  <Slides>7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3</vt:i4>
      </vt:variant>
      <vt:variant>
        <vt:lpstr>Motív</vt:lpstr>
      </vt:variant>
      <vt:variant>
        <vt:i4>5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7</vt:i4>
      </vt:variant>
    </vt:vector>
  </HeadingPairs>
  <TitlesOfParts>
    <vt:vector size="16" baseType="lpstr">
      <vt:lpstr>Arial</vt:lpstr>
      <vt:lpstr>SKODA Next</vt:lpstr>
      <vt:lpstr>Wingdings</vt:lpstr>
      <vt:lpstr>ŠKODA A4 Landscape CI</vt:lpstr>
      <vt:lpstr>ŠKODA A4 Landscape BLUE</vt:lpstr>
      <vt:lpstr>ŠKODA A4 Landscape RED</vt:lpstr>
      <vt:lpstr>ŠKODA A4 Landscape YELLOW</vt:lpstr>
      <vt:lpstr>ŠKODA A4 Landscape TURQUOIS</vt:lpstr>
      <vt:lpstr>think-cell Slide</vt:lpstr>
      <vt:lpstr>ŠKODA spanilá jazda – 25.4.2019</vt:lpstr>
      <vt:lpstr>Počet výstupov 54</vt:lpstr>
      <vt:lpstr>Ukážka výstupov - online</vt:lpstr>
      <vt:lpstr>Ukážka výstupov - print</vt:lpstr>
      <vt:lpstr>Ukážka výstupov - TV</vt:lpstr>
      <vt:lpstr>Ukážka výstupov - Instagram</vt:lpstr>
      <vt:lpstr>Ukážka výstupov - Facebook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ŠKODA SCALA</dc:title>
  <dc:creator>Rusnakova, Karina (SAS V)</dc:creator>
  <cp:lastModifiedBy>Lubomir Sulko</cp:lastModifiedBy>
  <cp:revision>23</cp:revision>
  <dcterms:created xsi:type="dcterms:W3CDTF">2019-01-24T12:41:08Z</dcterms:created>
  <dcterms:modified xsi:type="dcterms:W3CDTF">2019-12-27T09:13:55Z</dcterms:modified>
</cp:coreProperties>
</file>